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7" r:id="rId2"/>
    <p:sldId id="274" r:id="rId3"/>
    <p:sldId id="275" r:id="rId4"/>
    <p:sldId id="276" r:id="rId5"/>
    <p:sldId id="278" r:id="rId6"/>
    <p:sldId id="279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7"/>
            <p14:sldId id="274"/>
            <p14:sldId id="275"/>
            <p14:sldId id="276"/>
            <p14:sldId id="278"/>
            <p14:sldId id="279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028" autoAdjust="0"/>
  </p:normalViewPr>
  <p:slideViewPr>
    <p:cSldViewPr snapToGrid="0" showGuides="1">
      <p:cViewPr varScale="1">
        <p:scale>
          <a:sx n="95" d="100"/>
          <a:sy n="95" d="100"/>
        </p:scale>
        <p:origin x="16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12.07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12.07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en-GB" noProof="0" dirty="0" err="1"/>
              <a:t>Brünlital</a:t>
            </a:r>
            <a:r>
              <a:rPr lang="en-GB" noProof="0" dirty="0"/>
              <a:t> TEM</a:t>
            </a:r>
            <a:br>
              <a:rPr lang="en-GB" noProof="0" dirty="0"/>
            </a:br>
            <a:r>
              <a:rPr lang="en-GB" noProof="0" dirty="0"/>
              <a:t>2025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en-GB" noProof="0" dirty="0"/>
              <a:t>Measurements from July 10th, 2025</a:t>
            </a:r>
          </a:p>
          <a:p>
            <a:r>
              <a:rPr lang="en-GB" dirty="0"/>
              <a:t>Jakob Welkens &amp; Peter Balogh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0477" y="3014662"/>
            <a:ext cx="2863881" cy="828675"/>
          </a:xfrm>
        </p:spPr>
        <p:txBody>
          <a:bodyPr/>
          <a:lstStyle/>
          <a:p>
            <a:r>
              <a:rPr lang="en-GB" noProof="0" dirty="0"/>
              <a:t>Map of </a:t>
            </a:r>
            <a:br>
              <a:rPr lang="en-GB" noProof="0" dirty="0"/>
            </a:br>
            <a:r>
              <a:rPr lang="en-GB" noProof="0" dirty="0"/>
              <a:t>Sounding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en-GB" noProof="0" smtClean="0"/>
              <a:pPr/>
              <a:t>2</a:t>
            </a:fld>
            <a:endParaRPr lang="en-GB" noProof="0" dirty="0"/>
          </a:p>
        </p:txBody>
      </p:sp>
      <p:pic>
        <p:nvPicPr>
          <p:cNvPr id="3" name="Inhaltsplatzhalter 2" descr="Ein Bild, das Text, Screenshot, Karte enthält.&#10;&#10;KI-generierte Inhalte können fehlerhaft sein.">
            <a:extLst>
              <a:ext uri="{FF2B5EF4-FFF2-40B4-BE49-F238E27FC236}">
                <a16:creationId xmlns:a16="http://schemas.microsoft.com/office/drawing/2014/main" id="{AAB7ADFE-BAE8-7F47-1FBB-7D4D350601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581" y="1"/>
            <a:ext cx="8775419" cy="6205600"/>
          </a:xfrm>
        </p:spPr>
      </p:pic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AEB7C-4EF7-7BF5-5CC6-615B9DFA5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easurement Paramet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672D54-0C60-21CA-282E-F62B04979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/>
              <a:t>All </a:t>
            </a:r>
            <a:r>
              <a:rPr lang="de-AT" dirty="0" err="1"/>
              <a:t>soundings</a:t>
            </a:r>
            <a:r>
              <a:rPr lang="de-AT" dirty="0"/>
              <a:t>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aquired</a:t>
            </a:r>
            <a:r>
              <a:rPr lang="de-AT" dirty="0"/>
              <a:t> </a:t>
            </a:r>
            <a:r>
              <a:rPr lang="de-AT" dirty="0" err="1"/>
              <a:t>using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following</a:t>
            </a:r>
            <a:r>
              <a:rPr lang="de-AT" dirty="0"/>
              <a:t> </a:t>
            </a:r>
            <a:r>
              <a:rPr lang="de-AT" dirty="0" err="1"/>
              <a:t>parameters</a:t>
            </a:r>
            <a:r>
              <a:rPr lang="de-AT" dirty="0"/>
              <a:t> on </a:t>
            </a:r>
            <a:r>
              <a:rPr lang="de-AT" dirty="0" err="1"/>
              <a:t>July</a:t>
            </a:r>
            <a:r>
              <a:rPr lang="de-AT" dirty="0"/>
              <a:t> 10th</a:t>
            </a:r>
          </a:p>
          <a:p>
            <a:pPr lvl="1"/>
            <a:r>
              <a:rPr lang="de-AT" dirty="0"/>
              <a:t>4A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current</a:t>
            </a:r>
            <a:endParaRPr lang="de-AT" dirty="0"/>
          </a:p>
          <a:p>
            <a:pPr lvl="1"/>
            <a:r>
              <a:rPr lang="de-AT" dirty="0"/>
              <a:t>24 V</a:t>
            </a:r>
          </a:p>
          <a:p>
            <a:pPr lvl="1"/>
            <a:r>
              <a:rPr lang="de-AT" dirty="0" err="1"/>
              <a:t>Timekey</a:t>
            </a:r>
            <a:r>
              <a:rPr lang="de-AT" dirty="0"/>
              <a:t> 3 (</a:t>
            </a:r>
            <a:r>
              <a:rPr lang="de-AT" dirty="0" err="1"/>
              <a:t>later</a:t>
            </a:r>
            <a:r>
              <a:rPr lang="de-AT" dirty="0"/>
              <a:t> </a:t>
            </a:r>
            <a:r>
              <a:rPr lang="de-AT" dirty="0" err="1"/>
              <a:t>values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</a:t>
            </a:r>
            <a:r>
              <a:rPr lang="de-AT" dirty="0" err="1"/>
              <a:t>timekey</a:t>
            </a:r>
            <a:r>
              <a:rPr lang="de-AT" dirty="0"/>
              <a:t> 4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erroneous</a:t>
            </a:r>
            <a:r>
              <a:rPr lang="de-AT" dirty="0"/>
              <a:t>)</a:t>
            </a:r>
          </a:p>
          <a:p>
            <a:pPr lvl="1"/>
            <a:r>
              <a:rPr lang="de-AT" dirty="0"/>
              <a:t>Stacking </a:t>
            </a:r>
            <a:r>
              <a:rPr lang="de-AT" dirty="0" err="1"/>
              <a:t>paramter</a:t>
            </a:r>
            <a:r>
              <a:rPr lang="de-AT" dirty="0"/>
              <a:t> 10</a:t>
            </a:r>
          </a:p>
          <a:p>
            <a:pPr lvl="1"/>
            <a:r>
              <a:rPr lang="de-AT" dirty="0"/>
              <a:t>15m loop </a:t>
            </a:r>
            <a:r>
              <a:rPr lang="de-AT" dirty="0" err="1"/>
              <a:t>side</a:t>
            </a:r>
            <a:r>
              <a:rPr lang="de-AT" dirty="0"/>
              <a:t> </a:t>
            </a:r>
            <a:r>
              <a:rPr lang="de-AT" dirty="0" err="1"/>
              <a:t>length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A695D5-8590-D3DB-FEB0-B7F25DAEF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7472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E0EA91-066B-F219-7F67-C5509C6D4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B73F8B-4430-507E-D31E-FD61FED32BCA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r>
              <a:rPr lang="de-AT" dirty="0"/>
              <a:t>3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5, 5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]</a:t>
            </a:r>
          </a:p>
          <a:p>
            <a:r>
              <a:rPr lang="de-AT" dirty="0"/>
              <a:t>c = [0.1, 0.7, 0.7, 0.1]</a:t>
            </a:r>
          </a:p>
          <a:p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C2F4AC-D3F1-E97A-6B73-00033B81D201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424937" y="3047786"/>
            <a:ext cx="4894704" cy="2676739"/>
          </a:xfrm>
        </p:spPr>
        <p:txBody>
          <a:bodyPr/>
          <a:lstStyle/>
          <a:p>
            <a:r>
              <a:rPr lang="de-AT" dirty="0"/>
              <a:t>4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4, 4, 4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, 1e-6]</a:t>
            </a:r>
          </a:p>
          <a:p>
            <a:r>
              <a:rPr lang="en-US" dirty="0"/>
              <a:t>c = [0.1, 0.7, 0.7, 0.1, 0.1]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C81AD9-E71D-8F34-93BA-C6795FB5C9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7833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25DB6C-F37E-3135-2CF8-AD4D7E6BD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93CB4D-B9BB-2993-E0BF-C03C87951C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3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model</a:t>
            </a:r>
            <a:endParaRPr lang="de-AT" dirty="0"/>
          </a:p>
        </p:txBody>
      </p:sp>
      <p:pic>
        <p:nvPicPr>
          <p:cNvPr id="11" name="Inhaltsplatzhalter 10" descr="Ein Bild, das Text, Diagramm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6210274B-07A9-9D04-A151-8F0D1ABFF2E4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7" y="2223923"/>
            <a:ext cx="6557497" cy="3278748"/>
          </a:xfrm>
        </p:spPr>
      </p:pic>
      <p:pic>
        <p:nvPicPr>
          <p:cNvPr id="13" name="Inhaltsplatzhalter 12" descr="Ein Bild, das Text, Diagramm, Screenshot, Zahl enthält.&#10;&#10;KI-generierte Inhalte können fehlerhaft sein.">
            <a:extLst>
              <a:ext uri="{FF2B5EF4-FFF2-40B4-BE49-F238E27FC236}">
                <a16:creationId xmlns:a16="http://schemas.microsoft.com/office/drawing/2014/main" id="{84E3C640-C81E-60AD-ECE3-B0F37BCE7092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332186"/>
            <a:ext cx="4392340" cy="4392340"/>
          </a:xfr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544A70C-79DB-D3A1-07CE-42F019A2DE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818755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D7DA4-37F4-0118-DF28-1F1A33A96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D2512D-97AA-E4E6-3D8B-3F99D336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E13427-00AE-F92C-C418-4130742A1E8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4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model</a:t>
            </a:r>
            <a:endParaRPr lang="de-AT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72645-9B05-4370-36E2-5E66365CB3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pic>
        <p:nvPicPr>
          <p:cNvPr id="15" name="Inhaltsplatzhalter 14" descr="Ein Bild, das Text, Diagramm, Plan, Reihe enthält.&#10;&#10;KI-generierte Inhalte können fehlerhaft sein.">
            <a:extLst>
              <a:ext uri="{FF2B5EF4-FFF2-40B4-BE49-F238E27FC236}">
                <a16:creationId xmlns:a16="http://schemas.microsoft.com/office/drawing/2014/main" id="{5B390234-A676-111C-4CA2-B5FB31055E1F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229710"/>
            <a:ext cx="4494815" cy="4494815"/>
          </a:xfrm>
        </p:spPr>
      </p:pic>
      <p:pic>
        <p:nvPicPr>
          <p:cNvPr id="19" name="Inhaltsplatzhalter 18" descr="Ein Bild, das Text, Diagramm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4B227161-1383-9313-78D5-6E26CF7EF805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31" y="2015058"/>
            <a:ext cx="6975229" cy="3487614"/>
          </a:xfrm>
        </p:spPr>
      </p:pic>
    </p:spTree>
    <p:extLst>
      <p:ext uri="{BB962C8B-B14F-4D97-AF65-F5344CB8AC3E}">
        <p14:creationId xmlns:p14="http://schemas.microsoft.com/office/powerpoint/2010/main" val="4133938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50710_prelim_results</Template>
  <TotalTime>0</TotalTime>
  <Words>219</Words>
  <Application>Microsoft Office PowerPoint</Application>
  <PresentationFormat>Breitbild</PresentationFormat>
  <Paragraphs>37</Paragraphs>
  <Slides>6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9" baseType="lpstr">
      <vt:lpstr>Symbol</vt:lpstr>
      <vt:lpstr>Arial</vt:lpstr>
      <vt:lpstr>TU Wien</vt:lpstr>
      <vt:lpstr>Brünlital TEM 2025</vt:lpstr>
      <vt:lpstr>Map of  Soundings</vt:lpstr>
      <vt:lpstr>Measurement Parameters</vt:lpstr>
      <vt:lpstr>Inversion Parameters – Starting Model</vt:lpstr>
      <vt:lpstr>Inversion Parameters – Starting Model</vt:lpstr>
      <vt:lpstr>Inversion Parameters – Starting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elkens, Jakob</dc:creator>
  <cp:lastModifiedBy>Welkens, Jakob</cp:lastModifiedBy>
  <cp:revision>4</cp:revision>
  <dcterms:created xsi:type="dcterms:W3CDTF">2025-07-12T09:03:18Z</dcterms:created>
  <dcterms:modified xsi:type="dcterms:W3CDTF">2025-07-12T22:4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